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6" r:id="rId2"/>
    <p:sldId id="315" r:id="rId3"/>
    <p:sldId id="299" r:id="rId4"/>
    <p:sldId id="300" r:id="rId5"/>
    <p:sldId id="320" r:id="rId6"/>
    <p:sldId id="322" r:id="rId7"/>
    <p:sldId id="321" r:id="rId8"/>
    <p:sldId id="323" r:id="rId9"/>
  </p:sldIdLst>
  <p:sldSz cx="12192000" cy="6858000"/>
  <p:notesSz cx="9926638" cy="6797675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k29wv" initials="k" lastIdx="0" clrIdx="0">
    <p:extLst>
      <p:ext uri="{19B8F6BF-5375-455C-9EA6-DF929625EA0E}">
        <p15:presenceInfo xmlns:p15="http://schemas.microsoft.com/office/powerpoint/2012/main" userId="kok29w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389"/>
    <a:srgbClr val="FFFFFF"/>
    <a:srgbClr val="00529E"/>
    <a:srgbClr val="D9D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50" autoAdjust="0"/>
    <p:restoredTop sz="95908" autoAdjust="0"/>
  </p:normalViewPr>
  <p:slideViewPr>
    <p:cSldViewPr snapToGrid="0">
      <p:cViewPr>
        <p:scale>
          <a:sx n="216" d="100"/>
          <a:sy n="216" d="100"/>
        </p:scale>
        <p:origin x="5136" y="-160"/>
      </p:cViewPr>
      <p:guideLst/>
    </p:cSldViewPr>
  </p:slideViewPr>
  <p:outlineViewPr>
    <p:cViewPr>
      <p:scale>
        <a:sx n="33" d="100"/>
        <a:sy n="33" d="100"/>
      </p:scale>
      <p:origin x="0" y="-127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04"/>
    </p:cViewPr>
  </p:sorterViewPr>
  <p:notesViewPr>
    <p:cSldViewPr snapToGrid="0">
      <p:cViewPr>
        <p:scale>
          <a:sx n="66" d="100"/>
          <a:sy n="66" d="100"/>
        </p:scale>
        <p:origin x="4308" y="5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AB428-DE0C-49BF-90E7-B3CB4C7D1715}" type="datetimeFigureOut">
              <a:rPr lang="de-DE" smtClean="0"/>
              <a:t>21.10.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353CF4-3BA1-45F9-A12A-D45D9F9AC18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6107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AFF18C-CCFE-49B1-BEF3-4B981799B926}" type="datetimeFigureOut">
              <a:rPr lang="en-US" smtClean="0"/>
              <a:t>10/21/24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631825"/>
            <a:ext cx="4078288" cy="2293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0"/>
            <a:ext cx="7941310" cy="318523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C04BFF-B250-4F34-8513-350D55F32A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770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3614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7514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3870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6806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7531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316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001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7361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5505B7-06B0-455E-A771-2886E2CB8F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8269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950D236-6E19-4E60-9AB2-BDDCE5311D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177925" y="3189288"/>
            <a:ext cx="7766050" cy="4587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1020425" y="381000"/>
            <a:ext cx="819150" cy="11906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hteck 9"/>
          <p:cNvSpPr/>
          <p:nvPr userDrawn="1"/>
        </p:nvSpPr>
        <p:spPr>
          <a:xfrm>
            <a:off x="1009650" y="1800225"/>
            <a:ext cx="161925" cy="1847850"/>
          </a:xfrm>
          <a:prstGeom prst="rect">
            <a:avLst/>
          </a:prstGeom>
          <a:solidFill>
            <a:srgbClr val="00438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5429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0734628-2878-4DB4-B3BE-EF0408923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035" b="36454"/>
          <a:stretch/>
        </p:blipFill>
        <p:spPr>
          <a:xfrm>
            <a:off x="9001098" y="3754582"/>
            <a:ext cx="3190902" cy="3103418"/>
          </a:xfrm>
          <a:prstGeom prst="rect">
            <a:avLst/>
          </a:prstGeom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99D512FA-56DD-4D8A-B248-A7CC3709D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41384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260439-4441-4B8C-ABE7-2F9DD29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46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F550D8-F006-4A55-846B-5005DF6F22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463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331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517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A9F2966-3E23-4F0F-ADD5-86C5D7E74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2000" y="1396999"/>
            <a:ext cx="5361231" cy="4735511"/>
          </a:xfrm>
        </p:spPr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6DB0301-693B-40CA-BA84-F80307F89B8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78769" y="1396999"/>
            <a:ext cx="5361231" cy="473551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97958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C934F-FA50-4DB7-B4DC-D62CB9D7AA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335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51" imgH="450" progId="TCLayout.ActiveDocument.1">
                  <p:embed/>
                </p:oleObj>
              </mc:Choice>
              <mc:Fallback>
                <p:oleObj name="think-cell Slide" r:id="rId8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BD2721-E9BD-4747-A88D-23A8F12CCF56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2000" y="1396999"/>
            <a:ext cx="11046792" cy="4735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" y="512384"/>
            <a:ext cx="1643743" cy="72165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11340000" y="512384"/>
            <a:ext cx="138792" cy="716587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32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4" r:id="rId2"/>
    <p:sldLayoutId id="2147483650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438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08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20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54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0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hyperlink" Target="https://github.com/pds2425/course" TargetMode="External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12.gi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13.gi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4EADFCB-090E-BD4F-BCA7-6571D8FEB3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36383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DCB821-1CEA-49E7-ABD2-A5E725FE3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1575" y="1800225"/>
            <a:ext cx="7766050" cy="1847850"/>
          </a:xfrm>
        </p:spPr>
        <p:txBody>
          <a:bodyPr vert="horz"/>
          <a:lstStyle/>
          <a:p>
            <a:r>
              <a:rPr lang="de-CH" dirty="0"/>
              <a:t>Topics in Data Science 2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DA7815-92F1-426A-B0DE-BE6166322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Workflo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EFB351-1EA7-46BF-A5B3-FD69208466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443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accent1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What is version control?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3048645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TDS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1864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642F25-1BBE-E84B-AFE7-1971CD949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o we need version control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CFE8C7-DE3D-C94F-A0EC-4439876570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9AC33192-CCCD-7545-AFE1-A4CF0F5D38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355991" y="1397000"/>
            <a:ext cx="3512605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1217F658-4E97-3F4A-862C-374AE37593B1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4"/>
          <a:stretch>
            <a:fillRect/>
          </a:stretch>
        </p:blipFill>
        <p:spPr>
          <a:xfrm>
            <a:off x="5978525" y="2074445"/>
            <a:ext cx="5360988" cy="3380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115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008C41-EAF9-F54B-AE69-1BFB8C3CC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it work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D96CCF-8A83-5542-942C-CBF0DFCA31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D3E2FA5-16C7-E14F-8994-E5C0599521F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09237" y="1397000"/>
            <a:ext cx="5006113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6C1E4EEF-641F-F840-98CA-C4507B7599BA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4"/>
          <a:stretch>
            <a:fillRect/>
          </a:stretch>
        </p:blipFill>
        <p:spPr>
          <a:xfrm>
            <a:off x="7002737" y="1397000"/>
            <a:ext cx="3312564" cy="473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4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17669" y="2962513"/>
            <a:ext cx="5269525" cy="466487"/>
            <a:chOff x="1921681" y="3497174"/>
            <a:chExt cx="5269525" cy="466487"/>
          </a:xfrm>
          <a:solidFill>
            <a:schemeClr val="accent1"/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TDS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890720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C6FB5AC-C24B-0246-84E0-8027352048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69007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008CF0-A787-5E46-9C64-D2B96F197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TDS repository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123307-ED3F-264A-B82A-5030C44FF0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We provide a repository for our class at:</a:t>
            </a:r>
          </a:p>
          <a:p>
            <a:pPr marL="309563" lvl="1" indent="0">
              <a:buNone/>
            </a:pPr>
            <a:r>
              <a:rPr lang="en-US" sz="1800" dirty="0">
                <a:hlinkClick r:id="rId6"/>
              </a:rPr>
              <a:t>https://github.com/pds2425/course</a:t>
            </a:r>
            <a:r>
              <a:rPr lang="en-US" sz="1800" dirty="0"/>
              <a:t> </a:t>
            </a:r>
          </a:p>
          <a:p>
            <a:pPr marL="309563" lvl="1" indent="0">
              <a:buNone/>
            </a:pPr>
            <a:endParaRPr lang="en-US" sz="1800" dirty="0"/>
          </a:p>
          <a:p>
            <a:r>
              <a:rPr lang="en-US" sz="1800" dirty="0"/>
              <a:t>We will use this repository to upload:</a:t>
            </a:r>
          </a:p>
          <a:p>
            <a:pPr lvl="1"/>
            <a:r>
              <a:rPr lang="en-US" sz="1800" dirty="0"/>
              <a:t>Jupyter Notebooks from the lectures</a:t>
            </a:r>
          </a:p>
          <a:p>
            <a:pPr lvl="1"/>
            <a:r>
              <a:rPr lang="en-US" sz="1800" dirty="0"/>
              <a:t>Solutions for the assignments</a:t>
            </a:r>
          </a:p>
          <a:p>
            <a:pPr lvl="1"/>
            <a:r>
              <a:rPr lang="en-US" sz="1800" dirty="0"/>
              <a:t>Interesting and helpful stuff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F55C3B-B534-144F-9A0E-0691DE7E6F9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DF9857-843F-FEBE-3A96-9BD938308B2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4950795" y="1505856"/>
            <a:ext cx="6058426" cy="4517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8471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24672CA-C2AB-6140-9B15-A1FEF7751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47022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AAD32F-B4FB-2548-8DFF-9B40086CF7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ssignment Submission Workfl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9EC375-AEEF-B449-9B75-41AB63C875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ou will have to work on assignments to qualify for the (graded) capstone project</a:t>
            </a:r>
          </a:p>
          <a:p>
            <a:r>
              <a:rPr lang="en-US" dirty="0"/>
              <a:t>Assignments are submitted via GitHub pull requests</a:t>
            </a:r>
          </a:p>
          <a:p>
            <a:r>
              <a:rPr lang="en-US" dirty="0"/>
              <a:t>To work on your assignment, you have to create your own fork on GitHub: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the assignment in WueCampus classroom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Login using GitHub Account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Join the GitHub classroom by clicking on your name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Accept the assignment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Wait for GitHub classroom to configure your repository and click on the link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reate a new branch named </a:t>
            </a:r>
            <a:r>
              <a:rPr lang="en-US" dirty="0" err="1"/>
              <a:t>assignment_xyz</a:t>
            </a:r>
            <a:endParaRPr lang="en-US" dirty="0"/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BDA637-3388-B244-A8C0-5A8497BDAD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0A3FF116-03C7-C44E-BBD9-B073BB90453D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8525" y="1778633"/>
            <a:ext cx="5360988" cy="3972247"/>
          </a:xfrm>
        </p:spPr>
      </p:pic>
    </p:spTree>
    <p:extLst>
      <p:ext uri="{BB962C8B-B14F-4D97-AF65-F5344CB8AC3E}">
        <p14:creationId xmlns:p14="http://schemas.microsoft.com/office/powerpoint/2010/main" val="30422595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24672CA-C2AB-6140-9B15-A1FEF7751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92238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24672CA-C2AB-6140-9B15-A1FEF7751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AAD32F-B4FB-2548-8DFF-9B40086CF7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ssignment Submission Workflow (Google </a:t>
            </a:r>
            <a:r>
              <a:rPr lang="en-US" dirty="0" err="1"/>
              <a:t>Colab</a:t>
            </a:r>
            <a:r>
              <a:rPr lang="en-US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9EC375-AEEF-B449-9B75-41AB63C875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 support assignments with Git x Google </a:t>
            </a:r>
            <a:r>
              <a:rPr lang="en-US" dirty="0" err="1"/>
              <a:t>Colab</a:t>
            </a:r>
            <a:endParaRPr lang="en-US" dirty="0"/>
          </a:p>
          <a:p>
            <a:r>
              <a:rPr lang="en-US" dirty="0"/>
              <a:t>To modify and submit your assignments via Google </a:t>
            </a:r>
            <a:r>
              <a:rPr lang="en-US" dirty="0" err="1"/>
              <a:t>Colab</a:t>
            </a:r>
            <a:r>
              <a:rPr lang="en-US" dirty="0"/>
              <a:t>: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the Google </a:t>
            </a:r>
            <a:r>
              <a:rPr lang="en-US" dirty="0" err="1"/>
              <a:t>Colab</a:t>
            </a:r>
            <a:r>
              <a:rPr lang="en-US" dirty="0"/>
              <a:t> link in your GitHub repository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“File/Open Notebook”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GitHub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Search for </a:t>
            </a:r>
            <a:r>
              <a:rPr lang="en-US"/>
              <a:t>“pds2425”</a:t>
            </a:r>
            <a:endParaRPr lang="en-US" dirty="0"/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Select your repository and Branch and open the notebook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Make changes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“File/Save to </a:t>
            </a:r>
            <a:r>
              <a:rPr lang="en-US" dirty="0" err="1"/>
              <a:t>github</a:t>
            </a:r>
            <a:r>
              <a:rPr lang="en-US" dirty="0"/>
              <a:t>”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Select your repository and Branch and add a commit message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reate a pull request </a:t>
            </a:r>
            <a:r>
              <a:rPr lang="en-US" b="1" dirty="0">
                <a:solidFill>
                  <a:srgbClr val="FF0000"/>
                </a:solidFill>
              </a:rPr>
              <a:t>(DON’T MERGE IT)</a:t>
            </a:r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BDA637-3388-B244-A8C0-5A8497BDAD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D3E51C62-01AC-FF46-A75F-C9A29E7CD603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8525" y="1778633"/>
            <a:ext cx="5360988" cy="3972247"/>
          </a:xfrm>
        </p:spPr>
      </p:pic>
    </p:spTree>
    <p:extLst>
      <p:ext uri="{BB962C8B-B14F-4D97-AF65-F5344CB8AC3E}">
        <p14:creationId xmlns:p14="http://schemas.microsoft.com/office/powerpoint/2010/main" val="953932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fe9acc7-e4c0-41b1-9029-bb9c243be5d9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fontSizeAuto=&quot;0&quot; startTime=&quot;540&quot; timeFormatId=&quot;1&quot; startItemNo=&quot;1&quot; createSingleAgendaSlide=&quot;1&quot; createSeparatingSlides=&quot;1&quot; createBackupSlide=&quot;0&quot; layoutId=&quot;1_5&quot; createSections=&quot;0&quot; singleSlideId=&quot;1f41c5e8-cc5f-465b-9715-aa8b127e79b7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598.7515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d7ab121-4911-4bfd-8c57-08af70dd2909&quot; parentId=&quot;&quot; level=&quot;1&quot; generateAgendaSlide=&quot;1&quot; showAgendaItem=&quot;1&quot; isBreak=&quot;0&quot; topic=&quot;Introduction&quot; agendaSlideId=&quot;a53e7d98-fb91-4b4a-868c-b4530f29ac09&quot; /&gt;&lt;item duration=&quot;30&quot; id=&quot;ca0844e6-7e3b-4da0-b6c5-e35c240dcdd5&quot; parentId=&quot;&quot; level=&quot;1&quot; generateAgendaSlide=&quot;1&quot; showAgendaItem=&quot;1&quot; isBreak=&quot;0&quot; topic=&quot;Single-Period AP&quot; agendaSlideId=&quot;54b181dd-779d-49ad-b71c-0d824b6ce194&quot; /&gt;&lt;item duration=&quot;30&quot; id=&quot;1e702326-10fe-4b99-ba04-e5662a6bd883&quot; parentId=&quot;&quot; level=&quot;1&quot; generateAgendaSlide=&quot;1&quot; showAgendaItem=&quot;1&quot; isBreak=&quot;0&quot; topic=&quot;Multi-Period AP&quot; agendaSlideId=&quot;faf510b7-6381-4404-857e-6f6ee3fa88b1&quot; /&gt;&lt;item duration=&quot;30&quot; id=&quot;d34aea87-ba1a-49f9-89bb-fdc2f857c370&quot; parentId=&quot;1e702326-10fe-4b99-ba04-e5662a6bd883&quot; level=&quot;2&quot; generateAgendaSlide=&quot;1&quot; showAgendaItem=&quot;1&quot; isBreak=&quot;0&quot; topic=&quot;Central&quot; agendaSlideId=&quot;08fb5709-0044-4c6a-81aa-736073dc1175&quot; /&gt;&lt;item duration=&quot;30&quot; id=&quot;484bda1e-e480-4c7c-a1b6-f7f164a9cf77&quot; parentId=&quot;1e702326-10fe-4b99-ba04-e5662a6bd883&quot; level=&quot;2&quot; generateAgendaSlide=&quot;1&quot; showAgendaItem=&quot;1&quot; isBreak=&quot;0&quot; topic=&quot;Hierarchical&quot; agendaSlideId=&quot;e02b615d-bcd9-4e9c-a1aa-80a0cf965139&quot; /&gt;&lt;item duration=&quot;30&quot; id=&quot;fdd4148a-7990-4159-a54e-7a964b8f1997&quot; parentId=&quot;&quot; level=&quot;1&quot; generateAgendaSlide=&quot;1&quot; showAgendaItem=&quot;1&quot; isBreak=&quot;0&quot; topic=&quot;Conclusion&quot; agendaSlideId=&quot;5650935f-7705-4ee6-a20a-f548c292d795&quot; /&gt;&lt;/items&gt;&lt;/agenda&gt;&lt;/contents&gt;&lt;/ee4p&gt;"/>
  <p:tag name="BLUEONEFOURTHTITLEFONTCOLORFIXED" val="true"/>
  <p:tag name="NEWLAYOUTNAMES" val="true"/>
  <p:tag name="TEMPLATECREATED" val="2019-08-14 11:17 "/>
  <p:tag name="TEMPLATELASTEDITED" val="2019-08-15 01:01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FjT7lWsx_XTN0LGQyA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EAAg4kpk.LOLxybii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cJOrci7GjNi3xE2_wt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heme/theme1.xml><?xml version="1.0" encoding="utf-8"?>
<a:theme xmlns:a="http://schemas.openxmlformats.org/drawingml/2006/main" name="Flath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389"/>
      </a:accent1>
      <a:accent2>
        <a:srgbClr val="ED7D31"/>
      </a:accent2>
      <a:accent3>
        <a:srgbClr val="A5A5A5"/>
      </a:accent3>
      <a:accent4>
        <a:srgbClr val="65B2FF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Master_Flath" id="{99FDE7C9-F676-D64F-BFAF-3CA3A4D430AD}" vid="{FEB52118-2331-AF41-8383-5D638FA1C6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lath</Template>
  <TotalTime>44</TotalTime>
  <Words>291</Words>
  <Application>Microsoft Macintosh PowerPoint</Application>
  <PresentationFormat>Widescreen</PresentationFormat>
  <Paragraphs>66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Symbol</vt:lpstr>
      <vt:lpstr>Wingdings</vt:lpstr>
      <vt:lpstr>Flath</vt:lpstr>
      <vt:lpstr>think-cell Slide</vt:lpstr>
      <vt:lpstr>Topics in Data Science 2</vt:lpstr>
      <vt:lpstr>Agenda</vt:lpstr>
      <vt:lpstr>Why do we need version control?</vt:lpstr>
      <vt:lpstr>How does it work?</vt:lpstr>
      <vt:lpstr>Agenda</vt:lpstr>
      <vt:lpstr>The TDS repository</vt:lpstr>
      <vt:lpstr>Assignment Submission Workflow</vt:lpstr>
      <vt:lpstr>Assignment Submission Workflow (Google Colab)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lied Data Science</dc:title>
  <dc:subject/>
  <dc:creator>s212773</dc:creator>
  <cp:keywords/>
  <dc:description/>
  <cp:lastModifiedBy>Thê Viêt Nguyên</cp:lastModifiedBy>
  <cp:revision>49</cp:revision>
  <cp:lastPrinted>2018-08-28T11:15:39Z</cp:lastPrinted>
  <dcterms:created xsi:type="dcterms:W3CDTF">2019-10-14T17:48:10Z</dcterms:created>
  <dcterms:modified xsi:type="dcterms:W3CDTF">2024-10-21T10:46:31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19-08-14 11:17 </vt:lpwstr>
  </property>
  <property fmtid="{D5CDD505-2E9C-101B-9397-08002B2CF9AE}" pid="3" name="TemplateLastEdited">
    <vt:lpwstr>2019-08-15 01:01 </vt:lpwstr>
  </property>
</Properties>
</file>